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1"/>
  </p:notesMasterIdLst>
  <p:handoutMasterIdLst>
    <p:handoutMasterId r:id="rId22"/>
  </p:handoutMasterIdLst>
  <p:sldIdLst>
    <p:sldId id="372" r:id="rId3"/>
    <p:sldId id="464" r:id="rId4"/>
    <p:sldId id="505" r:id="rId5"/>
    <p:sldId id="556" r:id="rId6"/>
    <p:sldId id="554" r:id="rId7"/>
    <p:sldId id="561" r:id="rId8"/>
    <p:sldId id="557" r:id="rId9"/>
    <p:sldId id="551" r:id="rId10"/>
    <p:sldId id="565" r:id="rId11"/>
    <p:sldId id="570" r:id="rId12"/>
    <p:sldId id="566" r:id="rId13"/>
    <p:sldId id="568" r:id="rId14"/>
    <p:sldId id="569" r:id="rId15"/>
    <p:sldId id="564" r:id="rId16"/>
    <p:sldId id="571" r:id="rId17"/>
    <p:sldId id="572" r:id="rId18"/>
    <p:sldId id="510" r:id="rId19"/>
    <p:sldId id="546" r:id="rId20"/>
  </p:sldIdLst>
  <p:sldSz cx="9144000" cy="6858000" type="screen4x3"/>
  <p:notesSz cx="6797675" cy="9872663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01" userDrawn="1">
          <p15:clr>
            <a:srgbClr val="A4A3A4"/>
          </p15:clr>
        </p15:guide>
        <p15:guide id="2" pos="2051" userDrawn="1">
          <p15:clr>
            <a:srgbClr val="A4A3A4"/>
          </p15:clr>
        </p15:guide>
        <p15:guide id="3" orient="horz" pos="3111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hilde Lerche" initials="M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97A0"/>
    <a:srgbClr val="269C75"/>
    <a:srgbClr val="FF0066"/>
    <a:srgbClr val="006892"/>
    <a:srgbClr val="7FB5D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Lyst layout 2 - Markering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yst layout 3 - Markering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709" autoAdjust="0"/>
    <p:restoredTop sz="95851" autoAdjust="0"/>
  </p:normalViewPr>
  <p:slideViewPr>
    <p:cSldViewPr>
      <p:cViewPr varScale="1">
        <p:scale>
          <a:sx n="155" d="100"/>
          <a:sy n="155" d="100"/>
        </p:scale>
        <p:origin x="192" y="1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6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694" y="-108"/>
      </p:cViewPr>
      <p:guideLst>
        <p:guide orient="horz" pos="3001"/>
        <p:guide pos="2051"/>
        <p:guide orient="horz" pos="3111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48" y="5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/>
          <a:lstStyle>
            <a:lvl1pPr algn="r">
              <a:defRPr sz="1200"/>
            </a:lvl1pPr>
          </a:lstStyle>
          <a:p>
            <a:fld id="{F76952DA-623C-48ED-8E13-A4552BC7818F}" type="datetimeFigureOut">
              <a:rPr lang="da-DK" smtClean="0"/>
              <a:pPr/>
              <a:t>15.03.2023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5" y="9377319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0448" y="9377319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 anchor="b"/>
          <a:lstStyle>
            <a:lvl1pPr algn="r">
              <a:defRPr sz="1200"/>
            </a:lvl1pPr>
          </a:lstStyle>
          <a:p>
            <a:fld id="{2A5DB61F-315F-4A47-BFA2-DAB67B874BC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96796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8" y="5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/>
          <a:lstStyle>
            <a:lvl1pPr algn="r">
              <a:defRPr sz="1200"/>
            </a:lvl1pPr>
          </a:lstStyle>
          <a:p>
            <a:fld id="{8B6163E2-CF04-4A7D-B627-649D8A757C80}" type="datetimeFigureOut">
              <a:rPr lang="da-DK" smtClean="0"/>
              <a:pPr/>
              <a:t>15.03.2023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38" tIns="45569" rIns="91138" bIns="45569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689517"/>
            <a:ext cx="5438140" cy="4442698"/>
          </a:xfrm>
          <a:prstGeom prst="rect">
            <a:avLst/>
          </a:prstGeom>
        </p:spPr>
        <p:txBody>
          <a:bodyPr vert="horz" lIns="91138" tIns="45569" rIns="91138" bIns="45569" rtlCol="0">
            <a:normAutofit/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5" y="9377319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8" y="9377319"/>
            <a:ext cx="2945659" cy="493633"/>
          </a:xfrm>
          <a:prstGeom prst="rect">
            <a:avLst/>
          </a:prstGeom>
        </p:spPr>
        <p:txBody>
          <a:bodyPr vert="horz" lIns="91138" tIns="45569" rIns="91138" bIns="45569" rtlCol="0" anchor="b"/>
          <a:lstStyle>
            <a:lvl1pPr algn="r">
              <a:defRPr sz="1200"/>
            </a:lvl1pPr>
          </a:lstStyle>
          <a:p>
            <a:fld id="{A1DD8455-D8A8-47AF-95FA-AD464071E476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46306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D8455-D8A8-47AF-95FA-AD464071E476}" type="slidenum">
              <a:rPr lang="da-DK" smtClean="0">
                <a:solidFill>
                  <a:prstClr val="black"/>
                </a:solidFill>
              </a:rPr>
              <a:pPr/>
              <a:t>1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482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100974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000595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393436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741886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3036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yt siden sidst</a:t>
            </a:r>
          </a:p>
          <a:p>
            <a:r>
              <a:rPr lang="da-DK" dirty="0"/>
              <a:t>4 nye ansatt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89946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6741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72139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34562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55027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10035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0102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0462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9378">
              <a:defRPr/>
            </a:pPr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7835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2910" y="2357440"/>
            <a:ext cx="7772400" cy="1470025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1"/>
          <p:cNvSpPr>
            <a:spLocks noChangeArrowheads="1"/>
          </p:cNvSpPr>
          <p:nvPr userDrawn="1"/>
        </p:nvSpPr>
        <p:spPr bwMode="auto">
          <a:xfrm>
            <a:off x="0" y="0"/>
            <a:ext cx="9144000" cy="642918"/>
          </a:xfrm>
          <a:prstGeom prst="rect">
            <a:avLst/>
          </a:prstGeom>
          <a:solidFill>
            <a:srgbClr val="006892"/>
          </a:solidFill>
          <a:ln w="9525">
            <a:solidFill>
              <a:srgbClr val="365F9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>
              <a:solidFill>
                <a:prstClr val="black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7"/>
          <p:cNvSpPr>
            <a:spLocks noChangeShapeType="1"/>
          </p:cNvSpPr>
          <p:nvPr/>
        </p:nvSpPr>
        <p:spPr bwMode="auto">
          <a:xfrm>
            <a:off x="539750" y="6632585"/>
            <a:ext cx="0" cy="144463"/>
          </a:xfrm>
          <a:prstGeom prst="line">
            <a:avLst/>
          </a:prstGeom>
          <a:noFill/>
          <a:ln w="12700">
            <a:solidFill>
              <a:schemeClr val="accent5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60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600">
                <a:solidFill>
                  <a:srgbClr val="5A5A5A"/>
                </a:solidFill>
              </a:defRPr>
            </a:lvl1pPr>
          </a:lstStyle>
          <a:p>
            <a:pPr>
              <a:defRPr/>
            </a:pPr>
            <a:fld id="{00E7C834-FC6E-498E-8CFF-E707384B0458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6C30AF-7667-4DA4-9204-52F23EF6FEE8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  <p:pic>
        <p:nvPicPr>
          <p:cNvPr id="8" name="Picture 18" descr="Tryg_Red_2D_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920373" y="401646"/>
            <a:ext cx="86082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1243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B1EE44-9E1F-4896-8A05-BC10F5BC234D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2430C-5991-495C-BA50-CC7E47C7ADB1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06246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91" indent="0">
              <a:buNone/>
              <a:defRPr sz="1351"/>
            </a:lvl2pPr>
            <a:lvl3pPr marL="685783" indent="0">
              <a:buNone/>
              <a:defRPr sz="1200"/>
            </a:lvl3pPr>
            <a:lvl4pPr marL="1028674" indent="0">
              <a:buNone/>
              <a:defRPr sz="1051"/>
            </a:lvl4pPr>
            <a:lvl5pPr marL="1371566" indent="0">
              <a:buNone/>
              <a:defRPr sz="1051"/>
            </a:lvl5pPr>
            <a:lvl6pPr marL="1714457" indent="0">
              <a:buNone/>
              <a:defRPr sz="1051"/>
            </a:lvl6pPr>
            <a:lvl7pPr marL="2057349" indent="0">
              <a:buNone/>
              <a:defRPr sz="1051"/>
            </a:lvl7pPr>
            <a:lvl8pPr marL="2400240" indent="0">
              <a:buNone/>
              <a:defRPr sz="1051"/>
            </a:lvl8pPr>
            <a:lvl9pPr marL="2743131" indent="0">
              <a:buNone/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36786-B2B9-4D1C-80A9-85BA4575A029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08293-C434-4AE7-8066-C8B3AC892F7D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77936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1081088"/>
            <a:ext cx="3505200" cy="48688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19550" y="1081088"/>
            <a:ext cx="3505200" cy="48688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F6BCA8-2003-4D06-BB27-6E2E69C1FC65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03B454-53B9-4DDB-B46F-2FDC83C23AFD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52426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08B8F0-B61D-47A7-8F44-64C2BA229EBE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A3F29-98A0-401D-A6E9-F3DF78CDCD63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79616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A3776-8B1E-4151-91A9-7EA1CCE6142E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7DAD1E-313D-4322-BB49-2173BE85C884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0467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58780" y="441325"/>
            <a:ext cx="7165975" cy="406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61950" y="1081098"/>
            <a:ext cx="3505200" cy="235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019550" y="1081098"/>
            <a:ext cx="3505200" cy="235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61950" y="3590935"/>
            <a:ext cx="3505200" cy="2359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019550" y="3590935"/>
            <a:ext cx="3505200" cy="2359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9BD9C-35F1-40EE-AD26-463DB6A66CBF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4EAD3-5672-4E14-A0BA-EE37E1AB05D7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0758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0" y="441325"/>
            <a:ext cx="7165975" cy="406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1950" y="1081088"/>
            <a:ext cx="7162800" cy="486886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6F3920-1DEA-46E4-99B9-E951F036B6F3}" type="datetime1">
              <a:rPr lang="da-DK" smtClean="0"/>
              <a:t>15.03.2023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70934-D5E2-4C18-AF33-9BBE4E6E8093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7621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noFill/>
        </p:spPr>
        <p:txBody>
          <a:bodyPr>
            <a:normAutofit/>
          </a:bodyPr>
          <a:lstStyle>
            <a:lvl1pPr>
              <a:defRPr sz="3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196754"/>
            <a:ext cx="8229600" cy="4929411"/>
          </a:xfrm>
          <a:noFill/>
        </p:spPr>
        <p:txBody>
          <a:bodyPr/>
          <a:lstStyle>
            <a:lvl1pPr>
              <a:buNone/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2pPr>
            <a:lvl3pPr marL="1371566" indent="-457189"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Billede 9" descr="NIKKBlogo_cmyk_hvid-neg.gif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86710" y="6248400"/>
            <a:ext cx="1009650" cy="609600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9680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Billede 9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Billede 5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5.03.2023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6215092"/>
            <a:ext cx="9144000" cy="642917"/>
          </a:xfrm>
          <a:prstGeom prst="rect">
            <a:avLst/>
          </a:prstGeom>
          <a:solidFill>
            <a:srgbClr val="006892"/>
          </a:solidFill>
          <a:ln w="9525">
            <a:solidFill>
              <a:srgbClr val="365F9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>
              <a:solidFill>
                <a:prstClr val="black"/>
              </a:solidFill>
            </a:endParaRPr>
          </a:p>
        </p:txBody>
      </p:sp>
      <p:pic>
        <p:nvPicPr>
          <p:cNvPr id="9" name="Billede 8" descr="NIKKBlogo_cmyk_hvid-neg.gif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786710" y="6248400"/>
            <a:ext cx="1009650" cy="609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377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2C70E1-98B9-42C3-80BB-8FDEDD2B0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2C70E1-98B9-42C3-80BB-8FDEDD2B0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08A6EB-E925-4F17-8526-350567CD772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4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180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80" y="441325"/>
            <a:ext cx="7165975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iteltypografi i master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950" y="1081088"/>
            <a:ext cx="7162800" cy="486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201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3100" y="6626225"/>
            <a:ext cx="1619250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64D1EE03-CB04-4DE1-AD1C-9BB1F23A9C39}" type="datetime1">
              <a:rPr lang="da-DK" smtClean="0"/>
              <a:t>15.03.2023</a:t>
            </a:fld>
            <a:endParaRPr lang="da-DK" dirty="0"/>
          </a:p>
        </p:txBody>
      </p:sp>
      <p:sp>
        <p:nvSpPr>
          <p:cNvPr id="5201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95538" y="6626225"/>
            <a:ext cx="4913312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20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" y="6626225"/>
            <a:ext cx="423863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5EC86A4A-9F18-4944-AAC0-65EA86703F30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  <p:sp>
        <p:nvSpPr>
          <p:cNvPr id="2057" name="Line 17"/>
          <p:cNvSpPr>
            <a:spLocks noChangeShapeType="1"/>
          </p:cNvSpPr>
          <p:nvPr/>
        </p:nvSpPr>
        <p:spPr bwMode="auto">
          <a:xfrm>
            <a:off x="539750" y="6632585"/>
            <a:ext cx="0" cy="144463"/>
          </a:xfrm>
          <a:prstGeom prst="line">
            <a:avLst/>
          </a:prstGeom>
          <a:noFill/>
          <a:ln w="12700">
            <a:solidFill>
              <a:schemeClr val="accent5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a-DK" sz="600" dirty="0"/>
          </a:p>
        </p:txBody>
      </p:sp>
      <p:pic>
        <p:nvPicPr>
          <p:cNvPr id="9" name="Picture 18" descr="Tryg_Red_2D_RGB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7920373" y="401646"/>
            <a:ext cx="86082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96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5pPr>
      <a:lvl6pPr marL="342891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6pPr>
      <a:lvl7pPr marL="685783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7pPr>
      <a:lvl8pPr marL="1028674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8pPr>
      <a:lvl9pPr marL="1371566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9pPr>
    </p:titleStyle>
    <p:bodyStyle>
      <a:lvl1pPr marL="257168" indent="-257168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lr>
          <a:schemeClr val="tx2"/>
        </a:buClr>
        <a:buSzPct val="11000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203592" indent="-202402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lr>
          <a:srgbClr val="F20403"/>
        </a:buClr>
        <a:buSzPct val="110000"/>
        <a:buChar char="•"/>
        <a:defRPr sz="1200">
          <a:solidFill>
            <a:schemeClr val="tx1"/>
          </a:solidFill>
          <a:latin typeface="+mn-lt"/>
        </a:defRPr>
      </a:lvl2pPr>
      <a:lvl3pPr marL="451235" indent="-190495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685783" indent="-177400" algn="l" rtl="0" eaLnBrk="0" fontAlgn="base" hangingPunct="0">
        <a:lnSpc>
          <a:spcPct val="107000"/>
        </a:lnSpc>
        <a:spcBef>
          <a:spcPct val="24000"/>
        </a:spcBef>
        <a:spcAft>
          <a:spcPct val="0"/>
        </a:spcAft>
        <a:buChar char="•"/>
        <a:defRPr sz="1051">
          <a:solidFill>
            <a:schemeClr val="tx1"/>
          </a:solidFill>
          <a:latin typeface="+mn-lt"/>
        </a:defRPr>
      </a:lvl4pPr>
      <a:lvl5pPr marL="914377" indent="-158351" algn="l" rtl="0" eaLnBrk="0" fontAlgn="base" hangingPunct="0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5pPr>
      <a:lvl6pPr marL="1257269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6pPr>
      <a:lvl7pPr marL="1600160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7pPr>
      <a:lvl8pPr marL="1943051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8pPr>
      <a:lvl9pPr marL="2285943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hyperlink" Target="mailto:mmsoerensen@kiroviden.sdu.dk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boks 5"/>
          <p:cNvSpPr txBox="1"/>
          <p:nvPr/>
        </p:nvSpPr>
        <p:spPr>
          <a:xfrm>
            <a:off x="1691680" y="4506044"/>
            <a:ext cx="5832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tx2">
                    <a:lumMod val="75000"/>
                  </a:schemeClr>
                </a:solidFill>
              </a:rPr>
              <a:t>Brugergruppemøde 14. marts 2023</a:t>
            </a:r>
          </a:p>
        </p:txBody>
      </p:sp>
      <p:pic>
        <p:nvPicPr>
          <p:cNvPr id="2050" name="ba9332e6-225f-4ffd-b3d1-967692a01d27" descr="CC8CB3A2-91FB-4473-A326-4C3571DE13D6@fynsk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7" y="2492896"/>
            <a:ext cx="6829425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138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fade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/>
              <a:t>DigSI v/MJS</a:t>
            </a:r>
            <a:endParaRPr lang="da-DK" b="1" dirty="0"/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51F12700-90E4-A229-1CEB-662AA78D5C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560" y="1556792"/>
            <a:ext cx="5007073" cy="3884058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32D63B93-6CDE-736D-49C0-44B2A1DA4B6C}"/>
              </a:ext>
            </a:extLst>
          </p:cNvPr>
          <p:cNvSpPr/>
          <p:nvPr/>
        </p:nvSpPr>
        <p:spPr>
          <a:xfrm>
            <a:off x="2791977" y="3543469"/>
            <a:ext cx="2979056" cy="697231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0C14B7D-E014-2536-8DFF-B85DACA35AE3}"/>
              </a:ext>
            </a:extLst>
          </p:cNvPr>
          <p:cNvSpPr/>
          <p:nvPr/>
        </p:nvSpPr>
        <p:spPr>
          <a:xfrm>
            <a:off x="2814104" y="4743619"/>
            <a:ext cx="2979056" cy="697231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99ACC149-5F83-E10A-9652-EE1B5DDB02AF}"/>
              </a:ext>
            </a:extLst>
          </p:cNvPr>
          <p:cNvSpPr txBox="1"/>
          <p:nvPr/>
        </p:nvSpPr>
        <p:spPr>
          <a:xfrm>
            <a:off x="6103437" y="3068960"/>
            <a:ext cx="293305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jælp patienten med at logge ind</a:t>
            </a:r>
            <a:r>
              <a:rPr kumimoji="0" lang="da-DK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a-DK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 patientportalen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9A2C91DA-38C2-4CE0-0221-BF4F3671E4E5}"/>
              </a:ext>
            </a:extLst>
          </p:cNvPr>
          <p:cNvSpPr txBox="1"/>
          <p:nvPr/>
        </p:nvSpPr>
        <p:spPr>
          <a:xfrm>
            <a:off x="6228184" y="3933056"/>
            <a:ext cx="26261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da-DK" dirty="0"/>
              <a:t>Tag stilling til selfBACK og registrer jeres valg (</a:t>
            </a:r>
            <a:r>
              <a:rPr lang="da-DK" i="1" dirty="0"/>
              <a:t>ellers får I ikke honorar!</a:t>
            </a:r>
            <a:r>
              <a:rPr lang="da-DK" dirty="0"/>
              <a:t>)</a:t>
            </a:r>
          </a:p>
        </p:txBody>
      </p:sp>
      <p:cxnSp>
        <p:nvCxnSpPr>
          <p:cNvPr id="17" name="Lige pilforbindelse 16">
            <a:extLst>
              <a:ext uri="{FF2B5EF4-FFF2-40B4-BE49-F238E27FC236}">
                <a16:creationId xmlns:a16="http://schemas.microsoft.com/office/drawing/2014/main" id="{CBFB8341-9191-51FB-7EAF-FBB81E0811E9}"/>
              </a:ext>
            </a:extLst>
          </p:cNvPr>
          <p:cNvCxnSpPr>
            <a:cxnSpLocks/>
            <a:endCxn id="13" idx="6"/>
          </p:cNvCxnSpPr>
          <p:nvPr/>
        </p:nvCxnSpPr>
        <p:spPr>
          <a:xfrm flipH="1">
            <a:off x="5771033" y="3601415"/>
            <a:ext cx="484804" cy="290670"/>
          </a:xfrm>
          <a:prstGeom prst="straightConnector1">
            <a:avLst/>
          </a:prstGeom>
          <a:ln w="28575">
            <a:solidFill>
              <a:srgbClr val="384B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Lige pilforbindelse 17">
            <a:extLst>
              <a:ext uri="{FF2B5EF4-FFF2-40B4-BE49-F238E27FC236}">
                <a16:creationId xmlns:a16="http://schemas.microsoft.com/office/drawing/2014/main" id="{76E6C32A-87B9-A5E3-3AB6-0B4D75BCA19A}"/>
              </a:ext>
            </a:extLst>
          </p:cNvPr>
          <p:cNvCxnSpPr>
            <a:cxnSpLocks/>
          </p:cNvCxnSpPr>
          <p:nvPr/>
        </p:nvCxnSpPr>
        <p:spPr>
          <a:xfrm flipH="1">
            <a:off x="5890398" y="4581128"/>
            <a:ext cx="625818" cy="511106"/>
          </a:xfrm>
          <a:prstGeom prst="straightConnector1">
            <a:avLst/>
          </a:prstGeom>
          <a:ln w="28575">
            <a:solidFill>
              <a:srgbClr val="384B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9000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/>
      <p:bldP spid="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Fejl vedr. regionsafregning v/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6752"/>
            <a:ext cx="7787208" cy="4464496"/>
          </a:xfrm>
        </p:spPr>
        <p:txBody>
          <a:bodyPr>
            <a:norm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Regionen har indført nye regler for afregning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Reglerne er ikke kommunikeret til kiropraktorern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KirCACS er blevet tilpasset reglerne trinvist efter samarbejde med MedCom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0" lvl="0" indent="0"/>
            <a:r>
              <a:rPr lang="da-DK" sz="1800" dirty="0"/>
              <a:t>Følgende skal klinikken dog stadig være opmærksom på: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Hvis klinikken opdager en fejl i en afregning og laver denne om, skal både korrektionen og den nye afregning sendes ind til regione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Hvis klinikken får afvist en afregning, må kun den nye afregning sendes – ikke korrektione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2491911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Journalgruppens arbejde v/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2776"/>
            <a:ext cx="7787208" cy="3528392"/>
          </a:xfrm>
        </p:spPr>
        <p:txBody>
          <a:bodyPr>
            <a:normAutofit/>
          </a:bodyPr>
          <a:lstStyle/>
          <a:p>
            <a:pPr marL="0" lvl="0" indent="0"/>
            <a:r>
              <a:rPr lang="da-DK" sz="1800" b="1" dirty="0"/>
              <a:t>Status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Der er udarbejdet skemaer for alle felter i journalen for alle kropsdel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Journalgruppen forfiner stadig skemaerne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/>
              <a:t>Skemaerne bliver afprøvet i to klinikker for at få feedback fra behandlerne</a:t>
            </a:r>
          </a:p>
          <a:p>
            <a:pPr marL="0" lvl="0" indent="0"/>
            <a:endParaRPr lang="da-DK" sz="18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2552744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Samarbejde med eksterne parter v/HWC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6758"/>
            <a:ext cx="7787208" cy="3960439"/>
          </a:xfrm>
        </p:spPr>
        <p:txBody>
          <a:bodyPr>
            <a:norm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ehandlerbooking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alck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rifork/PFA/Danica? – Complimenta integration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elfBACK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da-DK" sz="1800" dirty="0">
                <a:solidFill>
                  <a:srgbClr val="000000"/>
                </a:solidFill>
                <a:latin typeface="Calibri" panose="020F0502020204030204" pitchFamily="34" charset="0"/>
              </a:rPr>
              <a:t>Exorlive</a:t>
            </a: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1030661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Opfølgning på emner fra seneste møde v/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7787208" cy="2880320"/>
          </a:xfrm>
        </p:spPr>
        <p:txBody>
          <a:bodyPr>
            <a:noAutofit/>
          </a:bodyPr>
          <a:lstStyle/>
          <a:p>
            <a:pPr marL="0" indent="0"/>
            <a:r>
              <a:rPr lang="da-DK" sz="1800" b="1" dirty="0"/>
              <a:t>Minikurser for sekretærer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Der er afholdt kursus næsten hver onsdag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Deltagerantallet har været svingende: 1 til 20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Der har været kurser, hvor ingen andre end underviser har sagt noget. Vi ved, at nogle sekretærer ikke kan onsdag, i stedet ser de efterfølgende videoen fra kurset; andre har ikke mikrofon i computere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Vi indstiller undervisningen, indtil der kommer store ændringer i KirCACS eller sekretærerne henvender sig med ønsker om gennemgang et bestemt emne</a:t>
            </a:r>
          </a:p>
          <a:p>
            <a:pPr marL="857230" lvl="1" indent="-457189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857230" lvl="1" indent="-457189">
              <a:buFont typeface="Arial" panose="020B0604020202020204" pitchFamily="34" charset="0"/>
              <a:buChar char="•"/>
            </a:pP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3033162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Opfølgning på emner fra seneste møde v/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7787208" cy="3528392"/>
          </a:xfrm>
        </p:spPr>
        <p:txBody>
          <a:bodyPr>
            <a:noAutofit/>
          </a:bodyPr>
          <a:lstStyle/>
          <a:p>
            <a:pPr marL="0" indent="0"/>
            <a:r>
              <a:rPr lang="da-DK" sz="1800" b="1" dirty="0"/>
              <a:t>Overgang til Mit-ID pga. myndighedskrav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KirCACS er teknisk klar til login vha. </a:t>
            </a:r>
            <a:r>
              <a:rPr lang="da-DK" sz="1800" dirty="0" err="1"/>
              <a:t>Mit-ID</a:t>
            </a:r>
            <a:endParaRPr lang="da-DK" sz="1800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Login kan både håndtere privat og erhvervs </a:t>
            </a:r>
            <a:r>
              <a:rPr lang="da-DK" sz="1800" dirty="0" err="1"/>
              <a:t>Mit-ID</a:t>
            </a:r>
            <a:endParaRPr lang="da-DK" sz="1800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Login kræver at alle i klinikken enten har en mobil eller en nøgleviser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Før vi kan sætte Mit-ID i produktion skal vi have onboardet alle bruger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Vi vil oprette en profil på den enkelte bruger baseret på CPR (bliver ikke vist til klinik)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Profilen vil også skulle bruge private mobil og e-mail for at kunne lave backupløsning til når Mit-ID er ned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sz="1800" dirty="0"/>
              <a:t>Brugeren vil blive spurgt om samtykke til anvendelsen af profilen</a:t>
            </a:r>
          </a:p>
        </p:txBody>
      </p:sp>
    </p:spTree>
    <p:extLst>
      <p:ext uri="{BB962C8B-B14F-4D97-AF65-F5344CB8AC3E}">
        <p14:creationId xmlns:p14="http://schemas.microsoft.com/office/powerpoint/2010/main" val="1997349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Convene v/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0768"/>
            <a:ext cx="7787208" cy="2736304"/>
          </a:xfrm>
        </p:spPr>
        <p:txBody>
          <a:bodyPr>
            <a:normAutofit/>
          </a:bodyPr>
          <a:lstStyle/>
          <a:p>
            <a:pPr marL="0" indent="0"/>
            <a:r>
              <a:rPr lang="da-DK" sz="1800" b="1"/>
              <a:t>Orientering om Convene</a:t>
            </a: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816549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Eventuelt</a:t>
            </a:r>
          </a:p>
        </p:txBody>
      </p:sp>
      <p:sp>
        <p:nvSpPr>
          <p:cNvPr id="13" name="Pladsholder til indhold 2">
            <a:extLst>
              <a:ext uri="{FF2B5EF4-FFF2-40B4-BE49-F238E27FC236}">
                <a16:creationId xmlns:a16="http://schemas.microsoft.com/office/drawing/2014/main" id="{F4E8D3B4-33CE-4AE0-9581-47F95C3C194D}"/>
              </a:ext>
            </a:extLst>
          </p:cNvPr>
          <p:cNvSpPr txBox="1">
            <a:spLocks/>
          </p:cNvSpPr>
          <p:nvPr/>
        </p:nvSpPr>
        <p:spPr>
          <a:xfrm>
            <a:off x="457200" y="3140968"/>
            <a:ext cx="8229600" cy="5760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da-DK" sz="1800" dirty="0"/>
              <a:t>Ordet er frit!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8505C511-D9CA-4EE9-AB86-38088AA7DB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749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da-DK" b="1" dirty="0"/>
              <a:t>Kommende brugergruppemøder 2023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53B621E3-E47D-A741-B217-1DECC9E11354}"/>
              </a:ext>
            </a:extLst>
          </p:cNvPr>
          <p:cNvSpPr txBox="1">
            <a:spLocks/>
          </p:cNvSpPr>
          <p:nvPr/>
        </p:nvSpPr>
        <p:spPr>
          <a:xfrm>
            <a:off x="323528" y="1916832"/>
            <a:ext cx="8229600" cy="3384376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00240" lvl="5" indent="0">
              <a:spcBef>
                <a:spcPts val="600"/>
              </a:spcBef>
              <a:buNone/>
            </a:pPr>
            <a:endParaRPr lang="da-DK" sz="1800" dirty="0"/>
          </a:p>
          <a:p>
            <a:pPr marL="2400240" lvl="5" indent="0">
              <a:spcBef>
                <a:spcPts val="600"/>
              </a:spcBef>
              <a:buNone/>
            </a:pPr>
            <a:r>
              <a:rPr lang="da-DK" sz="1800" dirty="0"/>
              <a:t>Tirsdag 13. juni (online)</a:t>
            </a:r>
          </a:p>
          <a:p>
            <a:pPr marL="2400240" lvl="5" indent="0">
              <a:spcBef>
                <a:spcPts val="600"/>
              </a:spcBef>
              <a:buNone/>
            </a:pPr>
            <a:r>
              <a:rPr lang="da-DK" sz="1800" dirty="0"/>
              <a:t>Tirsdag 12. september (online) </a:t>
            </a:r>
          </a:p>
          <a:p>
            <a:pPr marL="2400240" lvl="5" indent="0">
              <a:spcBef>
                <a:spcPts val="600"/>
              </a:spcBef>
              <a:buNone/>
            </a:pPr>
            <a:r>
              <a:rPr lang="da-DK" sz="1800" dirty="0"/>
              <a:t>Tirsdag 12. december (online)</a:t>
            </a:r>
          </a:p>
          <a:p>
            <a:pPr marL="2400240" lvl="5" indent="0">
              <a:spcBef>
                <a:spcPts val="600"/>
              </a:spcBef>
              <a:buNone/>
            </a:pPr>
            <a:endParaRPr lang="da-DK" sz="1800" dirty="0"/>
          </a:p>
          <a:p>
            <a:pPr marL="2400240" lvl="5" indent="0">
              <a:spcBef>
                <a:spcPts val="600"/>
              </a:spcBef>
              <a:buNone/>
            </a:pPr>
            <a:r>
              <a:rPr lang="da-DK" sz="1800" dirty="0"/>
              <a:t>Sæt         i kalenderen allerede nu</a:t>
            </a:r>
          </a:p>
        </p:txBody>
      </p:sp>
      <p:pic>
        <p:nvPicPr>
          <p:cNvPr id="5" name="Billede 4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89950830-E865-4C0E-8C59-039E593159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pic>
        <p:nvPicPr>
          <p:cNvPr id="6" name="Grafik 5" descr="Luk med massiv udfyldning">
            <a:extLst>
              <a:ext uri="{FF2B5EF4-FFF2-40B4-BE49-F238E27FC236}">
                <a16:creationId xmlns:a16="http://schemas.microsoft.com/office/drawing/2014/main" id="{6D3E5C0C-C877-F322-B43F-5A620A5AA7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3848" y="3645024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36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da-DK" b="1" dirty="0"/>
              <a:t>Dagsord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196758"/>
            <a:ext cx="8363272" cy="4752527"/>
          </a:xfrm>
        </p:spPr>
        <p:txBody>
          <a:bodyPr anchor="ctr">
            <a:no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lkomst v/HWC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iftsstatus v/HWC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gSI v/MSJ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jl vedr. regionsafregning v/JD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us på journalgruppens arbejde v/JD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atus på samarbejde med eksterne parter (Behandlerbooking, Falck, Trifork/PFA, SelfBACK, Exorlive) v/HWC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følgning på emner fra seneste møde v/JD</a:t>
            </a: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vene v/JD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vt.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da-DK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mmende møder</a:t>
            </a:r>
            <a:endParaRPr lang="da-DK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6" name="Billede 5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01EE51FA-4867-44EE-B585-019A19E302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62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Velkomst v/HWC</a:t>
            </a:r>
          </a:p>
        </p:txBody>
      </p:sp>
      <p:sp>
        <p:nvSpPr>
          <p:cNvPr id="6" name="Content Placeholder 19">
            <a:extLst>
              <a:ext uri="{FF2B5EF4-FFF2-40B4-BE49-F238E27FC236}">
                <a16:creationId xmlns:a16="http://schemas.microsoft.com/office/drawing/2014/main" id="{3839E127-DF36-D340-80A0-26EC6993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852943"/>
            <a:ext cx="8229600" cy="648073"/>
          </a:xfrm>
        </p:spPr>
        <p:txBody>
          <a:bodyPr>
            <a:normAutofit/>
          </a:bodyPr>
          <a:lstStyle/>
          <a:p>
            <a:pPr marL="0" indent="0" algn="ctr"/>
            <a:r>
              <a:rPr lang="da-DK" sz="1800" dirty="0"/>
              <a:t>Velkommen til dagens møde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A5142BF7-A80E-4533-94A3-920EAFDA56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9434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196752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00041" lvl="1" indent="0">
              <a:buNone/>
            </a:pPr>
            <a:r>
              <a:rPr lang="da-DK" sz="1800" dirty="0"/>
              <a:t>Status marts 2023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1800" dirty="0"/>
              <a:t>134 lokationer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1800" dirty="0"/>
              <a:t>440+ kiropraktorer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1800" dirty="0"/>
              <a:t>1010+ brugere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400040" lvl="1" indent="0">
              <a:buNone/>
            </a:pPr>
            <a:r>
              <a:rPr lang="da-DK" sz="1800" dirty="0"/>
              <a:t>Sentinel – ca. 45% af vores kunder tilmeldt</a:t>
            </a:r>
          </a:p>
          <a:p>
            <a:pPr marL="400040" lvl="1" indent="0">
              <a:buNone/>
            </a:pPr>
            <a:endParaRPr lang="da-DK" sz="1800" dirty="0"/>
          </a:p>
          <a:p>
            <a:pPr marL="400040" lvl="1" indent="0">
              <a:buNone/>
            </a:pPr>
            <a:r>
              <a:rPr lang="da-DK" sz="1800" dirty="0"/>
              <a:t>CGM tilmeldt Sentinel , EG Clinea kommer på marts 2023</a:t>
            </a:r>
          </a:p>
          <a:p>
            <a:pPr marL="400040" lvl="1" indent="0">
              <a:buNone/>
            </a:pPr>
            <a:endParaRPr lang="da-DK" sz="1800" dirty="0"/>
          </a:p>
          <a:p>
            <a:pPr marL="400040" lvl="1" indent="0">
              <a:buNone/>
            </a:pPr>
            <a:r>
              <a:rPr lang="da-DK" sz="1800" dirty="0"/>
              <a:t>EG Clinea – opkøbt stort kiro/fys journalsystem i Norge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811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541B9718-D6CE-46D1-B8B6-A6A916F6F5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/siden sidst v/JD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340768"/>
            <a:ext cx="3106688" cy="43204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a-DK" sz="1800" dirty="0"/>
              <a:t>Geografisk fordeling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68BC2A05-E523-3540-80B7-CD5A09F902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3672" y="1792466"/>
            <a:ext cx="5201689" cy="41007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62574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1800" dirty="0"/>
              <a:t>Nye klinikker siden sidste brugergruppemøde</a:t>
            </a:r>
            <a:br>
              <a:rPr lang="da-DK" sz="1800" dirty="0"/>
            </a:br>
            <a:endParaRPr lang="da-DK" sz="1800" dirty="0"/>
          </a:p>
          <a:p>
            <a:pPr>
              <a:spcBef>
                <a:spcPts val="0"/>
              </a:spcBef>
            </a:pPr>
            <a:r>
              <a:rPr lang="da-DK" sz="1800" dirty="0"/>
              <a:t>Kiropraktor.com, Sorø og Odense</a:t>
            </a:r>
          </a:p>
          <a:p>
            <a:pPr>
              <a:spcBef>
                <a:spcPts val="0"/>
              </a:spcBef>
            </a:pPr>
            <a:r>
              <a:rPr lang="da-DK" sz="1800" dirty="0"/>
              <a:t>Anne Toubøl, Ribe</a:t>
            </a:r>
          </a:p>
          <a:p>
            <a:pPr>
              <a:spcBef>
                <a:spcPts val="0"/>
              </a:spcBef>
            </a:pPr>
            <a:r>
              <a:rPr lang="da-DK" sz="1800" dirty="0"/>
              <a:t>Kiropraktisk Klinik Lyngby Storcenter</a:t>
            </a:r>
          </a:p>
          <a:p>
            <a:pPr>
              <a:spcBef>
                <a:spcPts val="0"/>
              </a:spcBef>
            </a:pPr>
            <a:r>
              <a:rPr lang="da-DK" sz="1800" dirty="0"/>
              <a:t>Bogense Kiropraktik</a:t>
            </a:r>
          </a:p>
          <a:p>
            <a:pPr>
              <a:spcBef>
                <a:spcPts val="0"/>
              </a:spcBef>
            </a:pPr>
            <a:r>
              <a:rPr lang="da-DK" sz="1800" dirty="0"/>
              <a:t>Als Kiropraktor Center, Sønderborg</a:t>
            </a:r>
          </a:p>
          <a:p>
            <a:pPr>
              <a:spcBef>
                <a:spcPts val="0"/>
              </a:spcBef>
            </a:pPr>
            <a:r>
              <a:rPr lang="da-DK" sz="1800" dirty="0"/>
              <a:t>Guddi Steinfath, Odense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032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268767"/>
            <a:ext cx="8363272" cy="452596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1800" dirty="0"/>
              <a:t>Kommende klinikker i 2023</a:t>
            </a:r>
          </a:p>
          <a:p>
            <a:pPr marL="400041" lvl="1" indent="0">
              <a:spcBef>
                <a:spcPts val="0"/>
              </a:spcBef>
              <a:buNone/>
            </a:pPr>
            <a:endParaRPr lang="da-DK" sz="1800" dirty="0"/>
          </a:p>
          <a:p>
            <a:pPr>
              <a:spcBef>
                <a:spcPts val="0"/>
              </a:spcBef>
            </a:pPr>
            <a:r>
              <a:rPr lang="da-DK" sz="1800" b="0" i="0" u="none" strike="noStrike" dirty="0">
                <a:solidFill>
                  <a:srgbClr val="444444"/>
                </a:solidFill>
                <a:effectLst/>
              </a:rPr>
              <a:t>Øresund Kiropraktik, Helsingør</a:t>
            </a:r>
          </a:p>
          <a:p>
            <a:pPr>
              <a:spcBef>
                <a:spcPts val="0"/>
              </a:spcBef>
            </a:pPr>
            <a:r>
              <a:rPr lang="da-DK" sz="1800" b="0" i="0" u="none" strike="noStrike" dirty="0">
                <a:solidFill>
                  <a:srgbClr val="444444"/>
                </a:solidFill>
                <a:effectLst/>
              </a:rPr>
              <a:t>Kiropraktorerne Rudersdal, Holte</a:t>
            </a:r>
            <a:endParaRPr lang="da-DK" sz="1800" dirty="0">
              <a:solidFill>
                <a:srgbClr val="444444"/>
              </a:solidFill>
            </a:endParaRPr>
          </a:p>
          <a:p>
            <a:pPr>
              <a:spcBef>
                <a:spcPts val="0"/>
              </a:spcBef>
            </a:pPr>
            <a:r>
              <a:rPr lang="da-DK" sz="1800" b="0" i="0" u="none" strike="noStrike" dirty="0">
                <a:solidFill>
                  <a:srgbClr val="444444"/>
                </a:solidFill>
                <a:effectLst/>
              </a:rPr>
              <a:t>Rikke Gunderstofte, København</a:t>
            </a:r>
          </a:p>
          <a:p>
            <a:pPr>
              <a:spcBef>
                <a:spcPts val="0"/>
              </a:spcBef>
            </a:pPr>
            <a:r>
              <a:rPr lang="da-DK" sz="1800" dirty="0">
                <a:solidFill>
                  <a:srgbClr val="444444"/>
                </a:solidFill>
              </a:rPr>
              <a:t>Kiropraktisk Klinik Gunvor Jørnsgård, Haderslev</a:t>
            </a:r>
            <a:endParaRPr lang="da-DK" sz="1800" b="0" i="0" u="none" strike="noStrike" dirty="0">
              <a:solidFill>
                <a:srgbClr val="444444"/>
              </a:solidFill>
              <a:effectLst/>
            </a:endParaRPr>
          </a:p>
          <a:p>
            <a:pPr>
              <a:spcBef>
                <a:spcPts val="0"/>
              </a:spcBef>
            </a:pPr>
            <a:r>
              <a:rPr lang="da-DK" sz="1800" dirty="0">
                <a:solidFill>
                  <a:srgbClr val="444444"/>
                </a:solidFill>
              </a:rPr>
              <a:t>Flere er på vej – endelige aftaler mangler at blive underskrevet</a:t>
            </a:r>
            <a:endParaRPr lang="da-DK" sz="1800" dirty="0"/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36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DigSI v/MJS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AF87200D-8A3D-13E9-3486-58C2FA576C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82" r="12582"/>
          <a:stretch/>
        </p:blipFill>
        <p:spPr>
          <a:xfrm>
            <a:off x="-1044624" y="258894"/>
            <a:ext cx="10800000" cy="5762423"/>
          </a:xfrm>
          <a:prstGeom prst="rect">
            <a:avLst/>
          </a:prstGeom>
        </p:spPr>
      </p:pic>
      <p:sp>
        <p:nvSpPr>
          <p:cNvPr id="8" name="Titel 5">
            <a:extLst>
              <a:ext uri="{FF2B5EF4-FFF2-40B4-BE49-F238E27FC236}">
                <a16:creationId xmlns:a16="http://schemas.microsoft.com/office/drawing/2014/main" id="{A62232D0-73CF-F734-6D95-BF312ABA5D9B}"/>
              </a:ext>
            </a:extLst>
          </p:cNvPr>
          <p:cNvSpPr txBox="1">
            <a:spLocks/>
          </p:cNvSpPr>
          <p:nvPr/>
        </p:nvSpPr>
        <p:spPr>
          <a:xfrm>
            <a:off x="4578856" y="3356992"/>
            <a:ext cx="3600000" cy="1800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377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4000" dirty="0"/>
              <a:t>STATUS</a:t>
            </a:r>
          </a:p>
        </p:txBody>
      </p:sp>
      <p:sp>
        <p:nvSpPr>
          <p:cNvPr id="9" name="Undertitel 6">
            <a:extLst>
              <a:ext uri="{FF2B5EF4-FFF2-40B4-BE49-F238E27FC236}">
                <a16:creationId xmlns:a16="http://schemas.microsoft.com/office/drawing/2014/main" id="{373E5389-663E-F61E-BE97-B7E452BF8594}"/>
              </a:ext>
            </a:extLst>
          </p:cNvPr>
          <p:cNvSpPr txBox="1">
            <a:spLocks/>
          </p:cNvSpPr>
          <p:nvPr/>
        </p:nvSpPr>
        <p:spPr>
          <a:xfrm>
            <a:off x="5701041" y="4617924"/>
            <a:ext cx="1391239" cy="68328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566" indent="-457189" algn="l" defTabSz="914377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dirty="0"/>
              <a:t>Marts 2023</a:t>
            </a:r>
          </a:p>
        </p:txBody>
      </p:sp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CD22C0B8-7735-630D-3605-5B9BB4EEE1CF}"/>
              </a:ext>
            </a:extLst>
          </p:cNvPr>
          <p:cNvCxnSpPr/>
          <p:nvPr/>
        </p:nvCxnSpPr>
        <p:spPr>
          <a:xfrm>
            <a:off x="5701041" y="4581128"/>
            <a:ext cx="1391239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4264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/>
              <a:t>DigSI v/MJS</a:t>
            </a:r>
            <a:endParaRPr lang="da-DK" b="1" dirty="0"/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7" name="Pladsholder til indhold 36">
            <a:extLst>
              <a:ext uri="{FF2B5EF4-FFF2-40B4-BE49-F238E27FC236}">
                <a16:creationId xmlns:a16="http://schemas.microsoft.com/office/drawing/2014/main" id="{6CAC6EEC-AFDD-BA31-5FF5-55B3924B89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2528" y="1556792"/>
            <a:ext cx="4245496" cy="2755503"/>
          </a:xfrm>
          <a:ln w="0">
            <a:noFill/>
          </a:ln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1800" dirty="0"/>
              <a:t>29 aktivt rekrutterende klinikker</a:t>
            </a:r>
          </a:p>
          <a:p>
            <a:pPr marL="0" indent="0">
              <a:spcBef>
                <a:spcPts val="0"/>
              </a:spcBef>
              <a:buNone/>
            </a:pPr>
            <a:endParaRPr lang="da-DK" sz="1800" dirty="0"/>
          </a:p>
          <a:p>
            <a:pPr marL="0" indent="0">
              <a:spcBef>
                <a:spcPts val="0"/>
              </a:spcBef>
              <a:buNone/>
            </a:pPr>
            <a:r>
              <a:rPr lang="da-DK" sz="1800" dirty="0"/>
              <a:t>Rekrutterings- og honorarsystemet virker</a:t>
            </a:r>
          </a:p>
          <a:p>
            <a:pPr marL="0" indent="0">
              <a:spcBef>
                <a:spcPts val="0"/>
              </a:spcBef>
              <a:buNone/>
            </a:pPr>
            <a:endParaRPr lang="da-DK" sz="1800" dirty="0"/>
          </a:p>
          <a:p>
            <a:pPr marL="0" indent="0">
              <a:spcBef>
                <a:spcPts val="0"/>
              </a:spcBef>
              <a:buNone/>
            </a:pPr>
            <a:r>
              <a:rPr lang="da-DK" sz="1800" dirty="0"/>
              <a:t>500 kr. i honorar per patient</a:t>
            </a:r>
            <a:endParaRPr lang="da-DK" dirty="0"/>
          </a:p>
        </p:txBody>
      </p:sp>
      <p:sp>
        <p:nvSpPr>
          <p:cNvPr id="8" name="Pladsholder til indhold 38">
            <a:extLst>
              <a:ext uri="{FF2B5EF4-FFF2-40B4-BE49-F238E27FC236}">
                <a16:creationId xmlns:a16="http://schemas.microsoft.com/office/drawing/2014/main" id="{151C8EF0-8EE7-FA10-DBC0-8BBD5BC70A59}"/>
              </a:ext>
            </a:extLst>
          </p:cNvPr>
          <p:cNvSpPr txBox="1">
            <a:spLocks/>
          </p:cNvSpPr>
          <p:nvPr/>
        </p:nvSpPr>
        <p:spPr>
          <a:xfrm>
            <a:off x="4932040" y="1556792"/>
            <a:ext cx="4016424" cy="2755503"/>
          </a:xfrm>
          <a:prstGeom prst="rect">
            <a:avLst/>
          </a:prstGeom>
          <a:ln w="0">
            <a:noFill/>
          </a:ln>
        </p:spPr>
        <p:txBody>
          <a:bodyPr>
            <a:norm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da-DK" sz="1800" dirty="0"/>
              <a:t>Vi vil GERNE have flere klinikker med 🙏</a:t>
            </a:r>
          </a:p>
          <a:p>
            <a:pPr>
              <a:spcBef>
                <a:spcPts val="0"/>
              </a:spcBef>
            </a:pPr>
            <a:endParaRPr lang="da-DK" sz="1800" dirty="0"/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da-DK" sz="1800" b="1" dirty="0">
                <a:solidFill>
                  <a:srgbClr val="384B69"/>
                </a:solidFill>
              </a:rPr>
              <a:t>Skriv til: 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nb-NO" sz="1800" dirty="0"/>
              <a:t>Mette Mouritsen Sørensen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nb-NO" sz="1800" dirty="0">
                <a:hlinkClick r:id="rId4"/>
              </a:rPr>
              <a:t>mmsoerensen@kiroviden.sdu.dk</a:t>
            </a:r>
            <a:endParaRPr lang="nb-NO" sz="1800" dirty="0"/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endParaRPr lang="da-DK" sz="1800" dirty="0"/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da-DK" sz="1800" b="1" dirty="0">
                <a:solidFill>
                  <a:srgbClr val="384B69"/>
                </a:solidFill>
              </a:rPr>
              <a:t>Ring til: 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da-DK" sz="1800" dirty="0"/>
              <a:t>Mette Stochkendahl: 6550 4524 </a:t>
            </a:r>
          </a:p>
        </p:txBody>
      </p:sp>
      <p:pic>
        <p:nvPicPr>
          <p:cNvPr id="10" name="Grafik 9" descr="Mønter kontur">
            <a:extLst>
              <a:ext uri="{FF2B5EF4-FFF2-40B4-BE49-F238E27FC236}">
                <a16:creationId xmlns:a16="http://schemas.microsoft.com/office/drawing/2014/main" id="{538B37FF-F989-3C8F-13BC-F78ADBAF4A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68986" y="3212976"/>
            <a:ext cx="1592580" cy="159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402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VdYfVmTIu80iQ8r6pTBg"/>
</p:tagLst>
</file>

<file path=ppt/theme/theme1.xml><?xml version="1.0" encoding="utf-8"?>
<a:theme xmlns:a="http://schemas.openxmlformats.org/drawingml/2006/main" name="1_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Slidecollection">
  <a:themeElements>
    <a:clrScheme name="Tryg">
      <a:dk1>
        <a:srgbClr val="000000"/>
      </a:dk1>
      <a:lt1>
        <a:srgbClr val="FFFFFF"/>
      </a:lt1>
      <a:dk2>
        <a:srgbClr val="5A5A5A"/>
      </a:dk2>
      <a:lt2>
        <a:srgbClr val="F20403"/>
      </a:lt2>
      <a:accent1>
        <a:srgbClr val="F20403"/>
      </a:accent1>
      <a:accent2>
        <a:srgbClr val="333333"/>
      </a:accent2>
      <a:accent3>
        <a:srgbClr val="E1E1E1"/>
      </a:accent3>
      <a:accent4>
        <a:srgbClr val="065260"/>
      </a:accent4>
      <a:accent5>
        <a:srgbClr val="5A5A5A"/>
      </a:accent5>
      <a:accent6>
        <a:srgbClr val="14B9A0"/>
      </a:accent6>
      <a:hlink>
        <a:srgbClr val="F20403"/>
      </a:hlink>
      <a:folHlink>
        <a:srgbClr val="002852"/>
      </a:folHlink>
    </a:clrScheme>
    <a:fontScheme name="Slidecollection_S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collection 1">
        <a:dk1>
          <a:srgbClr val="000000"/>
        </a:dk1>
        <a:lt1>
          <a:srgbClr val="FFFFFF"/>
        </a:lt1>
        <a:dk2>
          <a:srgbClr val="F20403"/>
        </a:dk2>
        <a:lt2>
          <a:srgbClr val="5A5A5A"/>
        </a:lt2>
        <a:accent1>
          <a:srgbClr val="F20403"/>
        </a:accent1>
        <a:accent2>
          <a:srgbClr val="14B9A0"/>
        </a:accent2>
        <a:accent3>
          <a:srgbClr val="FFFFFF"/>
        </a:accent3>
        <a:accent4>
          <a:srgbClr val="000000"/>
        </a:accent4>
        <a:accent5>
          <a:srgbClr val="F7AAAA"/>
        </a:accent5>
        <a:accent6>
          <a:srgbClr val="11A791"/>
        </a:accent6>
        <a:hlink>
          <a:srgbClr val="E1E1E1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7</TotalTime>
  <Words>677</Words>
  <Application>Microsoft Macintosh PowerPoint</Application>
  <PresentationFormat>Skærmshow (4:3)</PresentationFormat>
  <Paragraphs>124</Paragraphs>
  <Slides>18</Slides>
  <Notes>1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8</vt:i4>
      </vt:variant>
    </vt:vector>
  </HeadingPairs>
  <TitlesOfParts>
    <vt:vector size="26" baseType="lpstr">
      <vt:lpstr>Arial</vt:lpstr>
      <vt:lpstr>Calibri</vt:lpstr>
      <vt:lpstr>Courier New</vt:lpstr>
      <vt:lpstr>Times New Roman</vt:lpstr>
      <vt:lpstr>Verdana</vt:lpstr>
      <vt:lpstr>1_Kontortema</vt:lpstr>
      <vt:lpstr>6_Slidecollection</vt:lpstr>
      <vt:lpstr>think-cell Slide</vt:lpstr>
      <vt:lpstr>PowerPoint-præsentation</vt:lpstr>
      <vt:lpstr>Dagsorden</vt:lpstr>
      <vt:lpstr>Velkomst v/HWC</vt:lpstr>
      <vt:lpstr>Status v/HWC</vt:lpstr>
      <vt:lpstr>Status/siden sidst v/JD</vt:lpstr>
      <vt:lpstr>Status v/HWC</vt:lpstr>
      <vt:lpstr>Status v/HWC</vt:lpstr>
      <vt:lpstr>DigSI v/MJS</vt:lpstr>
      <vt:lpstr>DigSI v/MJS</vt:lpstr>
      <vt:lpstr>DigSI v/MJS</vt:lpstr>
      <vt:lpstr>Fejl vedr. regionsafregning v/JD</vt:lpstr>
      <vt:lpstr>Journalgruppens arbejde v/JD</vt:lpstr>
      <vt:lpstr>Samarbejde med eksterne parter v/HWC</vt:lpstr>
      <vt:lpstr>Opfølgning på emner fra seneste møde v/JD</vt:lpstr>
      <vt:lpstr>Opfølgning på emner fra seneste møde v/JD</vt:lpstr>
      <vt:lpstr>Convene v/JD</vt:lpstr>
      <vt:lpstr>Eventuelt</vt:lpstr>
      <vt:lpstr>Kommende brugergruppemøder 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sger Torning</dc:creator>
  <cp:lastModifiedBy>Asger Torning</cp:lastModifiedBy>
  <cp:revision>134</cp:revision>
  <cp:lastPrinted>2023-03-13T10:54:41Z</cp:lastPrinted>
  <dcterms:created xsi:type="dcterms:W3CDTF">2020-09-25T11:52:30Z</dcterms:created>
  <dcterms:modified xsi:type="dcterms:W3CDTF">2023-03-15T09:47:17Z</dcterms:modified>
</cp:coreProperties>
</file>